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3" r:id="rId1"/>
    <p:sldMasterId id="2147483667" r:id="rId2"/>
  </p:sldMasterIdLst>
  <p:notesMasterIdLst>
    <p:notesMasterId r:id="rId9"/>
  </p:notesMasterIdLst>
  <p:handoutMasterIdLst>
    <p:handoutMasterId r:id="rId10"/>
  </p:handoutMasterIdLst>
  <p:sldIdLst>
    <p:sldId id="349" r:id="rId3"/>
    <p:sldId id="350" r:id="rId4"/>
    <p:sldId id="353" r:id="rId5"/>
    <p:sldId id="351" r:id="rId6"/>
    <p:sldId id="352" r:id="rId7"/>
    <p:sldId id="354" r:id="rId8"/>
  </p:sldIdLst>
  <p:sldSz cx="9144000" cy="6858000" type="screen4x3"/>
  <p:notesSz cx="6797675" cy="987266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sz="1200" kern="1200">
        <a:solidFill>
          <a:schemeClr val="bg1"/>
        </a:solidFill>
        <a:latin typeface="Arial" pitchFamily="34" charset="0"/>
        <a:ea typeface="Arial Unicode MS" pitchFamily="34" charset="-128"/>
        <a:cs typeface="Arial Unicode MS" pitchFamily="3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7F2E"/>
    <a:srgbClr val="FF9966"/>
    <a:srgbClr val="D7E4BC"/>
    <a:srgbClr val="F0CB17"/>
    <a:srgbClr val="E6F1DB"/>
    <a:srgbClr val="E6F6D6"/>
    <a:srgbClr val="E0EACC"/>
    <a:srgbClr val="E5F1DF"/>
    <a:srgbClr val="FFE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85" autoAdjust="0"/>
    <p:restoredTop sz="84527" autoAdjust="0"/>
  </p:normalViewPr>
  <p:slideViewPr>
    <p:cSldViewPr>
      <p:cViewPr varScale="1">
        <p:scale>
          <a:sx n="87" d="100"/>
          <a:sy n="87" d="100"/>
        </p:scale>
        <p:origin x="-1430" y="-77"/>
      </p:cViewPr>
      <p:guideLst>
        <p:guide orient="horz" pos="2160"/>
        <p:guide orient="horz" pos="2479"/>
        <p:guide orient="horz" pos="2799"/>
        <p:guide orient="horz" pos="3119"/>
        <p:guide orient="horz" pos="3439"/>
        <p:guide orient="horz" pos="3754"/>
        <p:guide orient="horz" pos="4080"/>
        <p:guide orient="horz" pos="1836"/>
        <p:guide pos="2880"/>
        <p:guide pos="2440"/>
        <p:guide pos="3324"/>
        <p:guide pos="3768"/>
        <p:guide pos="4212"/>
        <p:guide pos="4657"/>
        <p:guide pos="5100"/>
        <p:guide pos="5544"/>
      </p:guideLst>
    </p:cSldViewPr>
  </p:slideViewPr>
  <p:outlineViewPr>
    <p:cViewPr>
      <p:scale>
        <a:sx n="25" d="100"/>
        <a:sy n="25" d="100"/>
      </p:scale>
      <p:origin x="0" y="2652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2934" y="-7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t" anchorCtr="0" compatLnSpc="1">
            <a:prstTxWarp prst="textNoShape">
              <a:avLst/>
            </a:prstTxWarp>
          </a:bodyPr>
          <a:lstStyle>
            <a:lvl1pPr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717" y="3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t" anchorCtr="0" compatLnSpc="1">
            <a:prstTxWarp prst="textNoShape">
              <a:avLst/>
            </a:prstTxWarp>
          </a:bodyPr>
          <a:lstStyle>
            <a:lvl1pPr algn="r"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872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b" anchorCtr="0" compatLnSpc="1">
            <a:prstTxWarp prst="textNoShape">
              <a:avLst/>
            </a:prstTxWarp>
          </a:bodyPr>
          <a:lstStyle>
            <a:lvl1pPr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717" y="9378872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b" anchorCtr="0" compatLnSpc="1">
            <a:prstTxWarp prst="textNoShape">
              <a:avLst/>
            </a:prstTxWarp>
          </a:bodyPr>
          <a:lstStyle>
            <a:lvl1pPr algn="r"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507726-684B-41E2-9C3C-1626568DAA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1814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3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t" anchorCtr="0" compatLnSpc="1">
            <a:prstTxWarp prst="textNoShape">
              <a:avLst/>
            </a:prstTxWarp>
          </a:bodyPr>
          <a:lstStyle>
            <a:lvl1pPr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717" y="3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t" anchorCtr="0" compatLnSpc="1">
            <a:prstTxWarp prst="textNoShape">
              <a:avLst/>
            </a:prstTxWarp>
          </a:bodyPr>
          <a:lstStyle>
            <a:lvl1pPr algn="r"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53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712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141" y="4689438"/>
            <a:ext cx="4985393" cy="4442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872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b" anchorCtr="0" compatLnSpc="1">
            <a:prstTxWarp prst="textNoShape">
              <a:avLst/>
            </a:prstTxWarp>
          </a:bodyPr>
          <a:lstStyle>
            <a:lvl1pPr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717" y="9378872"/>
            <a:ext cx="2944958" cy="49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89" tIns="46044" rIns="92089" bIns="46044" numCol="1" anchor="b" anchorCtr="0" compatLnSpc="1">
            <a:prstTxWarp prst="textNoShape">
              <a:avLst/>
            </a:prstTxWarp>
          </a:bodyPr>
          <a:lstStyle>
            <a:lvl1pPr algn="r" defTabSz="920453" eaLnBrk="0" hangingPunct="0">
              <a:defRPr sz="13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D3BE65E-8DEF-4B0A-973C-226EDA5453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93332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012950" y="581025"/>
            <a:ext cx="8990013" cy="67421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g </a:t>
            </a:r>
            <a:fld id="{233827C8-8A14-46EF-AD49-462A8640626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660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а этом слайде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ставлено распределение проблемных активов внутри систем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упнейшие проблемные активы (&gt;6 млрд. руб., 107,6 млрд.руб.) сосредоточены в ДРКК ЦА (64 млрд. руб.) и УРПА ЦА (37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рупные проблемные активы (1-6 млрд. руб., 176 млрд.руб.) распределены преимущественно между УРПА ЦА (43 млрд. руб.), ТБ Аппарат (51 млрд. руб.) и ГОСБ/ОСБ (62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редние ссуды (120 млн. руб. - 1 млрд. руб., 217,9 млрд.руб.) сосредоточены главным образом на уровне ГОСБ/ОСБ (164 млрд. руб.) и в аппаратах ТБ (45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Малые ссуды (менее 120 млн.руб., 64 млрд. руб.) учитываются практически полностью на уровне ГОСБ/ОСБ</a:t>
            </a:r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3852722" y="9379358"/>
            <a:ext cx="2944958" cy="493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51" tIns="46026" rIns="92051" bIns="46026" anchor="b"/>
          <a:lstStyle>
            <a:lvl1pPr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7541EFB7-3FEA-4CA0-B9FB-84601F734AAF}" type="slidenum">
              <a:rPr lang="ru-RU" sz="1300">
                <a:solidFill>
                  <a:schemeClr val="tx1"/>
                </a:solidFill>
              </a:rPr>
              <a:pPr algn="r"/>
              <a:t>2</a:t>
            </a:fld>
            <a:endParaRPr lang="ru-RU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а этом слайде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ставлено распределение проблемных активов внутри систем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упнейшие проблемные активы (&gt;6 млрд. руб., 107,6 млрд.руб.) сосредоточены в ДРКК ЦА (64 млрд. руб.) и УРПА ЦА (37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рупные проблемные активы (1-6 млрд. руб., 176 млрд.руб.) распределены преимущественно между УРПА ЦА (43 млрд. руб.), ТБ Аппарат (51 млрд. руб.) и ГОСБ/ОСБ (62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редние ссуды (120 млн. руб. - 1 млрд. руб., 217,9 млрд.руб.) сосредоточены главным образом на уровне ГОСБ/ОСБ (164 млрд. руб.) и в аппаратах ТБ (45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Малые ссуды (менее 120 млн.руб., 64 млрд. руб.) учитываются практически полностью на уровне ГОСБ/ОСБ</a:t>
            </a:r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3852722" y="9379358"/>
            <a:ext cx="2944958" cy="493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51" tIns="46026" rIns="92051" bIns="46026" anchor="b"/>
          <a:lstStyle>
            <a:lvl1pPr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7541EFB7-3FEA-4CA0-B9FB-84601F734AAF}" type="slidenum">
              <a:rPr lang="ru-RU" sz="1300">
                <a:solidFill>
                  <a:schemeClr val="tx1"/>
                </a:solidFill>
              </a:rPr>
              <a:pPr algn="r"/>
              <a:t>3</a:t>
            </a:fld>
            <a:endParaRPr lang="ru-RU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а этом слайде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ставлено распределение проблемных активов внутри систем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упнейшие проблемные активы (&gt;6 млрд. руб., 107,6 млрд.руб.) сосредоточены в ДРКК ЦА (64 млрд. руб.) и УРПА ЦА (37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рупные проблемные активы (1-6 млрд. руб., 176 млрд.руб.) распределены преимущественно между УРПА ЦА (43 млрд. руб.), ТБ Аппарат (51 млрд. руб.) и ГОСБ/ОСБ (62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редние ссуды (120 млн. руб. - 1 млрд. руб., 217,9 млрд.руб.) сосредоточены главным образом на уровне ГОСБ/ОСБ (164 млрд. руб.) и в аппаратах ТБ (45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Малые ссуды (менее 120 млн.руб., 64 млрд. руб.) учитываются практически полностью на уровне ГОСБ/ОСБ</a:t>
            </a:r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3852722" y="9379358"/>
            <a:ext cx="2944958" cy="493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51" tIns="46026" rIns="92051" bIns="46026" anchor="b"/>
          <a:lstStyle>
            <a:lvl1pPr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7541EFB7-3FEA-4CA0-B9FB-84601F734AAF}" type="slidenum">
              <a:rPr lang="ru-RU" sz="1300">
                <a:solidFill>
                  <a:schemeClr val="tx1"/>
                </a:solidFill>
              </a:rPr>
              <a:pPr algn="r"/>
              <a:t>4</a:t>
            </a:fld>
            <a:endParaRPr lang="ru-RU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а этом слайде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ставлено распределение проблемных активов внутри систем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упнейшие проблемные активы (&gt;6 млрд. руб., 107,6 млрд.руб.) сосредоточены в ДРКК ЦА (64 млрд. руб.) и УРПА ЦА (37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рупные проблемные активы (1-6 млрд. руб., 176 млрд.руб.) распределены преимущественно между УРПА ЦА (43 млрд. руб.), ТБ Аппарат (51 млрд. руб.) и ГОСБ/ОСБ (62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редние ссуды (120 млн. руб. - 1 млрд. руб., 217,9 млрд.руб.) сосредоточены главным образом на уровне ГОСБ/ОСБ (164 млрд. руб.) и в аппаратах ТБ (45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Малые ссуды (менее 120 млн.руб., 64 млрд. руб.) учитываются практически полностью на уровне ГОСБ/ОСБ</a:t>
            </a:r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3852722" y="9379358"/>
            <a:ext cx="2944958" cy="493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51" tIns="46026" rIns="92051" bIns="46026" anchor="b"/>
          <a:lstStyle>
            <a:lvl1pPr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7541EFB7-3FEA-4CA0-B9FB-84601F734AAF}" type="slidenum">
              <a:rPr lang="ru-RU" sz="1300">
                <a:solidFill>
                  <a:schemeClr val="tx1"/>
                </a:solidFill>
              </a:rPr>
              <a:pPr algn="r"/>
              <a:t>5</a:t>
            </a:fld>
            <a:endParaRPr lang="ru-RU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На этом слайде 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ставлено распределение проблемных активов внутри системы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упнейшие проблемные активы (&gt;6 млрд. руб., 107,6 млрд.руб.) сосредоточены в ДРКК ЦА (64 млрд. руб.) и УРПА ЦА (37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рупные проблемные активы (1-6 млрд. руб., 176 млрд.руб.) распределены преимущественно между УРПА ЦА (43 млрд. руб.), ТБ Аппарат (51 млрд. руб.) и ГОСБ/ОСБ (62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Средние ссуды (120 млн. руб. - 1 млрд. руб., 217,9 млрд.руб.) сосредоточены главным образом на уровне ГОСБ/ОСБ (164 млрд. руб.) и в аппаратах ТБ (45 млрд. руб.)</a:t>
            </a:r>
          </a:p>
          <a:p>
            <a:pPr>
              <a:buFont typeface="Arial" pitchFamily="34" charset="0"/>
              <a:buChar char="•"/>
              <a:defRPr/>
            </a:pP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Малые ссуды (менее 120 млн.руб., 64 млрд. руб.) учитываются практически полностью на уровне ГОСБ/ОСБ</a:t>
            </a:r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3852722" y="9379358"/>
            <a:ext cx="2944958" cy="493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51" tIns="46026" rIns="92051" bIns="46026" anchor="b"/>
          <a:lstStyle>
            <a:lvl1pPr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03288" eaLnBrk="0" hangingPunct="0"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032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/>
            <a:fld id="{7541EFB7-3FEA-4CA0-B9FB-84601F734AAF}" type="slidenum">
              <a:rPr lang="ru-RU" sz="1300">
                <a:solidFill>
                  <a:schemeClr val="tx1"/>
                </a:solidFill>
              </a:rPr>
              <a:pPr algn="r"/>
              <a:t>6</a:t>
            </a:fld>
            <a:endParaRPr lang="ru-RU" sz="130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5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3" y="1711325"/>
            <a:ext cx="7500937" cy="4289425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199" y="3223862"/>
            <a:ext cx="7773614" cy="37683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066" y="3885772"/>
            <a:ext cx="6399989" cy="1752564"/>
          </a:xfrm>
        </p:spPr>
        <p:txBody>
          <a:bodyPr/>
          <a:lstStyle>
            <a:lvl1pPr marL="0" indent="0" algn="ctr">
              <a:buNone/>
              <a:defRPr/>
            </a:lvl1pPr>
            <a:lvl2pPr marL="460696" indent="0" algn="ctr">
              <a:buNone/>
              <a:defRPr/>
            </a:lvl2pPr>
            <a:lvl3pPr marL="921437" indent="0" algn="ctr">
              <a:buNone/>
              <a:defRPr/>
            </a:lvl3pPr>
            <a:lvl4pPr marL="1382162" indent="0" algn="ctr">
              <a:buNone/>
              <a:defRPr/>
            </a:lvl4pPr>
            <a:lvl5pPr marL="1842879" indent="0" algn="ctr">
              <a:buNone/>
              <a:defRPr/>
            </a:lvl5pPr>
            <a:lvl6pPr marL="2303602" indent="0" algn="ctr">
              <a:buNone/>
              <a:defRPr/>
            </a:lvl6pPr>
            <a:lvl7pPr marL="2764337" indent="0" algn="ctr">
              <a:buNone/>
              <a:defRPr/>
            </a:lvl7pPr>
            <a:lvl8pPr marL="3225054" indent="0" algn="ctr">
              <a:buNone/>
              <a:defRPr/>
            </a:lvl8pPr>
            <a:lvl9pPr marL="36857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65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67289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32" y="4407327"/>
            <a:ext cx="7771995" cy="630942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32" y="2907444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696" indent="0">
              <a:buNone/>
              <a:defRPr sz="1800"/>
            </a:lvl2pPr>
            <a:lvl3pPr marL="921437" indent="0">
              <a:buNone/>
              <a:defRPr sz="1600"/>
            </a:lvl3pPr>
            <a:lvl4pPr marL="1382162" indent="0">
              <a:buNone/>
              <a:defRPr sz="1400"/>
            </a:lvl4pPr>
            <a:lvl5pPr marL="1842879" indent="0">
              <a:buNone/>
              <a:defRPr sz="1400"/>
            </a:lvl5pPr>
            <a:lvl6pPr marL="2303602" indent="0">
              <a:buNone/>
              <a:defRPr sz="1400"/>
            </a:lvl6pPr>
            <a:lvl7pPr marL="2764337" indent="0">
              <a:buNone/>
              <a:defRPr sz="1400"/>
            </a:lvl7pPr>
            <a:lvl8pPr marL="3225054" indent="0">
              <a:buNone/>
              <a:defRPr sz="1400"/>
            </a:lvl8pPr>
            <a:lvl9pPr marL="36857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51220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206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9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7722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800" y="1040447"/>
            <a:ext cx="8230410" cy="376834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7" y="1535544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696" indent="0">
              <a:buNone/>
              <a:defRPr sz="2000" b="1"/>
            </a:lvl2pPr>
            <a:lvl3pPr marL="921437" indent="0">
              <a:buNone/>
              <a:defRPr sz="1800" b="1"/>
            </a:lvl3pPr>
            <a:lvl4pPr marL="1382162" indent="0">
              <a:buNone/>
              <a:defRPr sz="1600" b="1"/>
            </a:lvl4pPr>
            <a:lvl5pPr marL="1842879" indent="0">
              <a:buNone/>
              <a:defRPr sz="1600" b="1"/>
            </a:lvl5pPr>
            <a:lvl6pPr marL="2303602" indent="0">
              <a:buNone/>
              <a:defRPr sz="1600" b="1"/>
            </a:lvl6pPr>
            <a:lvl7pPr marL="2764337" indent="0">
              <a:buNone/>
              <a:defRPr sz="1600" b="1"/>
            </a:lvl7pPr>
            <a:lvl8pPr marL="3225054" indent="0">
              <a:buNone/>
              <a:defRPr sz="1600" b="1"/>
            </a:lvl8pPr>
            <a:lvl9pPr marL="36857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7" y="2175319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44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696" indent="0">
              <a:buNone/>
              <a:defRPr sz="2000" b="1"/>
            </a:lvl2pPr>
            <a:lvl3pPr marL="921437" indent="0">
              <a:buNone/>
              <a:defRPr sz="1800" b="1"/>
            </a:lvl3pPr>
            <a:lvl4pPr marL="1382162" indent="0">
              <a:buNone/>
              <a:defRPr sz="1600" b="1"/>
            </a:lvl4pPr>
            <a:lvl5pPr marL="1842879" indent="0">
              <a:buNone/>
              <a:defRPr sz="1600" b="1"/>
            </a:lvl5pPr>
            <a:lvl6pPr marL="2303602" indent="0">
              <a:buNone/>
              <a:defRPr sz="1600" b="1"/>
            </a:lvl6pPr>
            <a:lvl7pPr marL="2764337" indent="0">
              <a:buNone/>
              <a:defRPr sz="1600" b="1"/>
            </a:lvl7pPr>
            <a:lvl8pPr marL="3225054" indent="0">
              <a:buNone/>
              <a:defRPr sz="1600" b="1"/>
            </a:lvl8pPr>
            <a:lvl9pPr marL="36857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9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14496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7694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823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27322"/>
            <a:ext cx="3008044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105" y="273745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7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0696" indent="0">
              <a:buNone/>
              <a:defRPr sz="1200"/>
            </a:lvl2pPr>
            <a:lvl3pPr marL="921437" indent="0">
              <a:buNone/>
              <a:defRPr sz="1000"/>
            </a:lvl3pPr>
            <a:lvl4pPr marL="1382162" indent="0">
              <a:buNone/>
              <a:defRPr sz="900"/>
            </a:lvl4pPr>
            <a:lvl5pPr marL="1842879" indent="0">
              <a:buNone/>
              <a:defRPr sz="900"/>
            </a:lvl5pPr>
            <a:lvl6pPr marL="2303602" indent="0">
              <a:buNone/>
              <a:defRPr sz="900"/>
            </a:lvl6pPr>
            <a:lvl7pPr marL="2764337" indent="0">
              <a:buNone/>
              <a:defRPr sz="900"/>
            </a:lvl7pPr>
            <a:lvl8pPr marL="3225054" indent="0">
              <a:buNone/>
              <a:defRPr sz="900"/>
            </a:lvl8pPr>
            <a:lvl9pPr marL="36857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28591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60067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0696" indent="0">
              <a:buNone/>
              <a:defRPr sz="2900"/>
            </a:lvl2pPr>
            <a:lvl3pPr marL="921437" indent="0">
              <a:buNone/>
              <a:defRPr sz="2400"/>
            </a:lvl3pPr>
            <a:lvl4pPr marL="1382162" indent="0">
              <a:buNone/>
              <a:defRPr sz="2000"/>
            </a:lvl4pPr>
            <a:lvl5pPr marL="1842879" indent="0">
              <a:buNone/>
              <a:defRPr sz="2000"/>
            </a:lvl5pPr>
            <a:lvl6pPr marL="2303602" indent="0">
              <a:buNone/>
              <a:defRPr sz="2000"/>
            </a:lvl6pPr>
            <a:lvl7pPr marL="2764337" indent="0">
              <a:buNone/>
              <a:defRPr sz="2000"/>
            </a:lvl7pPr>
            <a:lvl8pPr marL="3225054" indent="0">
              <a:buNone/>
              <a:defRPr sz="2000"/>
            </a:lvl8pPr>
            <a:lvl9pPr marL="3685772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0696" indent="0">
              <a:buNone/>
              <a:defRPr sz="1200"/>
            </a:lvl2pPr>
            <a:lvl3pPr marL="921437" indent="0">
              <a:buNone/>
              <a:defRPr sz="1000"/>
            </a:lvl3pPr>
            <a:lvl4pPr marL="1382162" indent="0">
              <a:buNone/>
              <a:defRPr sz="900"/>
            </a:lvl4pPr>
            <a:lvl5pPr marL="1842879" indent="0">
              <a:buNone/>
              <a:defRPr sz="900"/>
            </a:lvl5pPr>
            <a:lvl6pPr marL="2303602" indent="0">
              <a:buNone/>
              <a:defRPr sz="900"/>
            </a:lvl6pPr>
            <a:lvl7pPr marL="2764337" indent="0">
              <a:buNone/>
              <a:defRPr sz="900"/>
            </a:lvl7pPr>
            <a:lvl8pPr marL="3225054" indent="0">
              <a:buNone/>
              <a:defRPr sz="900"/>
            </a:lvl8pPr>
            <a:lvl9pPr marL="36857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903310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1791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322798" y="349866"/>
            <a:ext cx="738664" cy="288800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558" y="349866"/>
            <a:ext cx="5045803" cy="28880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8885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25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5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5" y="393700"/>
            <a:ext cx="5603875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3" y="1711325"/>
            <a:ext cx="7500937" cy="428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latin typeface="Arial" charset="0"/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chemeClr val="tx1"/>
              </a:solidFill>
              <a:latin typeface="Arial" charset="0"/>
              <a:ea typeface="ヒラギノ角ゴ Pro W3" pitchFamily="-128" charset="-128"/>
              <a:cs typeface="+mn-cs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919913" y="366713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459788" y="6572250"/>
            <a:ext cx="684212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chemeClr val="tx1"/>
                </a:solidFill>
                <a:latin typeface="Arial" charset="0"/>
                <a:ea typeface="ヒラギノ角ゴ Pro W3" pitchFamily="-128" charset="-128"/>
                <a:cs typeface="+mn-cs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latin typeface="Arial" charset="0"/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539163" y="6557963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5C65C353-4BCD-41D5-BC15-B72D4A36FA08}" type="slidenum">
              <a:rPr lang="ru-RU" b="1">
                <a:latin typeface="Arial" charset="0"/>
                <a:ea typeface="ヒラギノ角ゴ Pro W3" pitchFamily="-128" charset="-128"/>
                <a:cs typeface="+mn-cs"/>
              </a:rPr>
              <a:pPr eaLnBrk="0" hangingPunct="0">
                <a:defRPr/>
              </a:pPr>
              <a:t>‹#›</a:t>
            </a:fld>
            <a:endParaRPr lang="ru-RU" dirty="0">
              <a:latin typeface="Arial" charset="0"/>
              <a:ea typeface="ヒラギノ角ゴ Pro W3" pitchFamily="-128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65" r:id="rId12"/>
    <p:sldLayoutId id="2147483666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595959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595959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190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2" y="2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41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AutoShape 3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Рисунок 6" descr="sbk_pic_ir_prs_titleback_en.jp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44"/>
          <a:stretch>
            <a:fillRect/>
          </a:stretch>
        </p:blipFill>
        <p:spPr bwMode="auto">
          <a:xfrm>
            <a:off x="-8100" y="61"/>
            <a:ext cx="91521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628" y="267849"/>
            <a:ext cx="6934537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altLang="zh-CN" smtClean="0"/>
          </a:p>
        </p:txBody>
      </p:sp>
      <p:sp>
        <p:nvSpPr>
          <p:cNvPr id="205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1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7034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hf hdr="0" ftr="0" dt="0"/>
  <p:txStyles>
    <p:titleStyle>
      <a:lvl1pPr algn="l" defTabSz="902258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902258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902258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902258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902258" rtl="0" eaLnBrk="0" fontAlgn="base" hangingPunct="0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60696" algn="l" defTabSz="902258" rtl="0" fontAlgn="base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21437" algn="l" defTabSz="902258" rtl="0" fontAlgn="base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82162" algn="l" defTabSz="902258" rtl="0" fontAlgn="base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42879" algn="l" defTabSz="902258" rtl="0" fontAlgn="base"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marL="345538" indent="-345538" algn="l" defTabSz="902258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5167" indent="-193568" algn="l" defTabSz="90225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0696" indent="-263954" algn="l" defTabSz="90225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9094" indent="-156791" algn="l" defTabSz="90225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51879" indent="-131172" algn="l" defTabSz="90225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5pPr>
      <a:lvl6pPr marL="1212594" indent="-131172" algn="l" defTabSz="9022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73310" indent="-131172" algn="l" defTabSz="9022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34039" indent="-131172" algn="l" defTabSz="9022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94750" indent="-131172" algn="l" defTabSz="9022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696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1437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2162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2879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3602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4337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5054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5772" algn="l" defTabSz="9214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91880" y="2492896"/>
            <a:ext cx="482453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вестники банкротства в практике работы с проблемными активами</a:t>
            </a: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91880" y="6597352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Декабрь 2011 года</a:t>
            </a:r>
          </a:p>
        </p:txBody>
      </p:sp>
    </p:spTree>
    <p:extLst>
      <p:ext uri="{BB962C8B-B14F-4D97-AF65-F5344CB8AC3E}">
        <p14:creationId xmlns:p14="http://schemas.microsoft.com/office/powerpoint/2010/main" val="72027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ru-RU" dirty="0" smtClean="0">
                <a:cs typeface="Arial" pitchFamily="34" charset="0"/>
              </a:rPr>
              <a:t>Предвестники банкротства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1124744"/>
            <a:ext cx="7344816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  Предвестники банкротства – правовые и экономические обстоятельства, свидетельствующие о значительном повышении риска банкротства должника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  </a:t>
            </a:r>
            <a:r>
              <a:rPr lang="ru-RU" sz="2000" b="1" u="sng" dirty="0" smtClean="0">
                <a:solidFill>
                  <a:srgbClr val="006600"/>
                </a:solidFill>
              </a:rPr>
              <a:t>Цели работы Банка в ситуации обнаружения предвестников  банкротства:</a:t>
            </a:r>
          </a:p>
          <a:p>
            <a:pPr marL="457200" indent="-4572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Предотвращение банкротства должника (при наличии экономического обоснования)</a:t>
            </a:r>
          </a:p>
          <a:p>
            <a:pPr marL="457200" indent="-4572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Инициирование процедуры банкротства по заявлению Банка (при отсутствии возможности восстановления платежеспособности) для обеспечения соблюдения прав и законных интересов Банка </a:t>
            </a:r>
          </a:p>
          <a:p>
            <a:pPr marL="457200" indent="-4572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ru-RU" dirty="0" smtClean="0">
                <a:cs typeface="Arial" pitchFamily="34" charset="0"/>
              </a:rPr>
              <a:t>Предвестники банкротства. Экономические признак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1268760"/>
            <a:ext cx="7344816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u="sng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u="sng" dirty="0" smtClean="0">
                <a:solidFill>
                  <a:srgbClr val="006600"/>
                </a:solidFill>
              </a:rPr>
              <a:t> Экономические предвестники банкротства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Снижение рейтинга заемщика, присвоенного Банком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Наличие просроченной задолженности перед Банком сроком более 5 дней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Отрицательная величина  чистых активов должника на протяжении трех кварталов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Обращение должника в Банк с заявлением о реструктуризации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Наличие просроченной задолженности у должника перед третьими лицами сроком более 5 дней в размере большем, чем 50% чистых активов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4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ru-RU" dirty="0" smtClean="0">
                <a:cs typeface="Arial" pitchFamily="34" charset="0"/>
              </a:rPr>
              <a:t>Предвестники банкротства. Юридические признак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1268760"/>
            <a:ext cx="7344816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</a:t>
            </a:r>
            <a:r>
              <a:rPr lang="ru-RU" sz="2000" b="1" u="sng" dirty="0" smtClean="0">
                <a:solidFill>
                  <a:srgbClr val="006600"/>
                </a:solidFill>
              </a:rPr>
              <a:t>Правовые предвестники банкротства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Корпоративные конфликты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Обращение должника в Банк с заявлением о реструктуризации задолженности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Инициирование уголовного преследования в отношении бенефициаров или менеджеров должника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Возникновение практики исполнения должником обычных хозяйственных обязательств перед третьими лицами только после вынесения судебных решений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Появление судебных дел по искам о взыскании задолженности с должника от </a:t>
            </a:r>
            <a:r>
              <a:rPr lang="ru-RU" sz="1600" b="1" dirty="0" err="1" smtClean="0">
                <a:solidFill>
                  <a:srgbClr val="006600"/>
                </a:solidFill>
              </a:rPr>
              <a:t>аффилированных</a:t>
            </a:r>
            <a:r>
              <a:rPr lang="ru-RU" sz="1600" b="1" dirty="0" smtClean="0">
                <a:solidFill>
                  <a:srgbClr val="006600"/>
                </a:solidFill>
              </a:rPr>
              <a:t> с должником лиц </a:t>
            </a: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ru-RU" dirty="0" smtClean="0">
                <a:cs typeface="Arial" pitchFamily="34" charset="0"/>
              </a:rPr>
              <a:t>Необходимые действ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1268760"/>
            <a:ext cx="734481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</a:t>
            </a:r>
            <a:endParaRPr lang="ru-RU" sz="2000" b="1" u="sng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5616" y="980728"/>
            <a:ext cx="7344816" cy="720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  </a:t>
            </a: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1600" b="1" u="sng" dirty="0" smtClean="0">
                <a:solidFill>
                  <a:srgbClr val="006600"/>
                </a:solidFill>
              </a:rPr>
              <a:t> 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Постоянный мониторинг ситуации с должником, в отношении которого выявлено возникновение предвестника банкротства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Незамедлительное проведение анализа финансового и хозяйственного положения должника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Выбор стратегии  (</a:t>
            </a:r>
            <a:r>
              <a:rPr lang="ru-RU" sz="1600" b="1" dirty="0" err="1" smtClean="0">
                <a:solidFill>
                  <a:srgbClr val="006600"/>
                </a:solidFill>
              </a:rPr>
              <a:t>дефолтная</a:t>
            </a:r>
            <a:r>
              <a:rPr lang="ru-RU" sz="1600" b="1" dirty="0" smtClean="0">
                <a:solidFill>
                  <a:srgbClr val="006600"/>
                </a:solidFill>
              </a:rPr>
              <a:t> или кредитная) дальнейшей работы с должником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При выборе </a:t>
            </a:r>
            <a:r>
              <a:rPr lang="ru-RU" sz="1600" b="1" dirty="0" err="1" smtClean="0">
                <a:solidFill>
                  <a:srgbClr val="006600"/>
                </a:solidFill>
              </a:rPr>
              <a:t>дефолтной</a:t>
            </a:r>
            <a:r>
              <a:rPr lang="ru-RU" sz="1600" b="1" dirty="0" smtClean="0">
                <a:solidFill>
                  <a:srgbClr val="006600"/>
                </a:solidFill>
              </a:rPr>
              <a:t> стратегии оперативное приобретение прав требования к должнику, принадлежащих третьим лицам и подтвержденным судебным актом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При инициировании банкротства недобросовестным должником  обращение в правоохранительные органы (фиктивное/преднамеренное банкротство, мошенничество)</a:t>
            </a:r>
          </a:p>
          <a:p>
            <a:pPr marL="342900" indent="-3429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u="sng" dirty="0" smtClean="0">
              <a:solidFill>
                <a:srgbClr val="006600"/>
              </a:solidFill>
            </a:endParaRPr>
          </a:p>
          <a:p>
            <a:pPr marL="342900" indent="-3429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4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fontAlgn="ctr"/>
            <a:r>
              <a:rPr lang="ru-RU" dirty="0" smtClean="0">
                <a:cs typeface="Arial" pitchFamily="34" charset="0"/>
              </a:rPr>
              <a:t>Предлагаемые изменения законодательств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87624" y="1268760"/>
            <a:ext cx="734481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</a:t>
            </a:r>
            <a:endParaRPr lang="ru-RU" sz="2000" b="1" u="sng" dirty="0" smtClean="0">
              <a:solidFill>
                <a:srgbClr val="006600"/>
              </a:solidFill>
            </a:endParaRPr>
          </a:p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87624" y="1196752"/>
            <a:ext cx="7344816" cy="6586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2000" b="1" dirty="0" smtClean="0">
                <a:solidFill>
                  <a:srgbClr val="006600"/>
                </a:solidFill>
              </a:rPr>
              <a:t>   Цель: сделать менее привлекательным для недобросовестных должников использование механизмов  банкротства</a:t>
            </a: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1600" b="1" u="sng" dirty="0" smtClean="0">
                <a:solidFill>
                  <a:srgbClr val="006600"/>
                </a:solidFill>
              </a:rPr>
              <a:t> </a:t>
            </a:r>
          </a:p>
          <a:p>
            <a:pPr marL="342900" indent="-3429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u="sng" dirty="0" smtClean="0">
                <a:solidFill>
                  <a:srgbClr val="006600"/>
                </a:solidFill>
              </a:rPr>
              <a:t>Упрощение процедуры инициирования банкротства: и</a:t>
            </a:r>
            <a:r>
              <a:rPr lang="ru-RU" sz="1600" b="1" dirty="0" smtClean="0">
                <a:solidFill>
                  <a:srgbClr val="006600"/>
                </a:solidFill>
              </a:rPr>
              <a:t>сключение необходимости иметь установленную судебным органом задолженность для подачи заявления о банкротстве должника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r>
              <a:rPr lang="ru-RU" sz="1600" b="1" u="sng" dirty="0" smtClean="0">
                <a:solidFill>
                  <a:srgbClr val="006600"/>
                </a:solidFill>
              </a:rPr>
              <a:t>Реально действующий механизм субсидиарной ответственности </a:t>
            </a:r>
            <a:r>
              <a:rPr lang="ru-RU" sz="1600" b="1" dirty="0" smtClean="0">
                <a:solidFill>
                  <a:srgbClr val="006600"/>
                </a:solidFill>
              </a:rPr>
              <a:t>контролирующих должника лиц (ст. 10 Закона о банкротстве) 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3. </a:t>
            </a:r>
            <a:r>
              <a:rPr lang="ru-RU" sz="1600" b="1" u="sng" dirty="0" smtClean="0">
                <a:solidFill>
                  <a:srgbClr val="006600"/>
                </a:solidFill>
              </a:rPr>
              <a:t>Право голоса залогового кредитора по вопросам назначения арбитражных </a:t>
            </a:r>
            <a:r>
              <a:rPr lang="ru-RU" sz="1600" b="1" dirty="0" smtClean="0">
                <a:solidFill>
                  <a:srgbClr val="006600"/>
                </a:solidFill>
              </a:rPr>
              <a:t>управляющих во всех процедурах банкротства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4. </a:t>
            </a:r>
            <a:r>
              <a:rPr lang="en-US" sz="1600" b="1" dirty="0" smtClean="0">
                <a:solidFill>
                  <a:srgbClr val="006600"/>
                </a:solidFill>
              </a:rPr>
              <a:t>	</a:t>
            </a:r>
            <a:r>
              <a:rPr lang="ru-RU" sz="1600" b="1" dirty="0" smtClean="0">
                <a:solidFill>
                  <a:srgbClr val="006600"/>
                </a:solidFill>
              </a:rPr>
              <a:t>Предоставление </a:t>
            </a:r>
            <a:r>
              <a:rPr lang="ru-RU" sz="1600" b="1" dirty="0" smtClean="0">
                <a:solidFill>
                  <a:srgbClr val="006600"/>
                </a:solidFill>
              </a:rPr>
              <a:t>кредитору правового статуса лица, участвующего в деле о банкротстве, с момента направления им требований к должнику в установленном порядке (ст. 34 Закона о банкротстве)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tabLst>
                <a:tab pos="384175" algn="l"/>
              </a:tabLst>
              <a:defRPr/>
            </a:pPr>
            <a:r>
              <a:rPr lang="ru-RU" sz="1600" b="1" dirty="0" smtClean="0">
                <a:solidFill>
                  <a:srgbClr val="006600"/>
                </a:solidFill>
              </a:rPr>
              <a:t>5.</a:t>
            </a:r>
            <a:r>
              <a:rPr lang="en-US" sz="1600" b="1" dirty="0" smtClean="0">
                <a:solidFill>
                  <a:srgbClr val="006600"/>
                </a:solidFill>
              </a:rPr>
              <a:t>	</a:t>
            </a:r>
            <a:r>
              <a:rPr lang="ru-RU" sz="1600" b="1" dirty="0" smtClean="0">
                <a:solidFill>
                  <a:srgbClr val="006600"/>
                </a:solidFill>
              </a:rPr>
              <a:t>Предоставление </a:t>
            </a:r>
            <a:r>
              <a:rPr lang="ru-RU" sz="1600" b="1" dirty="0" smtClean="0">
                <a:solidFill>
                  <a:srgbClr val="006600"/>
                </a:solidFill>
              </a:rPr>
              <a:t>кредиторам, размер требований которых составляет не менее 10% от общего размера требований, внесенных в реестр, </a:t>
            </a:r>
            <a:r>
              <a:rPr lang="ru-RU" sz="1600" b="1" u="sng" dirty="0" smtClean="0">
                <a:solidFill>
                  <a:srgbClr val="006600"/>
                </a:solidFill>
              </a:rPr>
              <a:t>право оспаривать сделки должника </a:t>
            </a:r>
            <a:r>
              <a:rPr lang="ru-RU" sz="1600" b="1" dirty="0" smtClean="0">
                <a:solidFill>
                  <a:srgbClr val="006600"/>
                </a:solidFill>
              </a:rPr>
              <a:t>(ст. 61.9 Закона о банкротстве).</a:t>
            </a: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600" b="1" dirty="0" smtClean="0">
              <a:solidFill>
                <a:srgbClr val="006600"/>
              </a:solidFill>
            </a:endParaRPr>
          </a:p>
          <a:p>
            <a:pPr marL="342900" indent="-342900" algn="just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 startAt="2"/>
              <a:tabLst>
                <a:tab pos="384175" algn="l"/>
              </a:tabLst>
              <a:defRPr/>
            </a:pPr>
            <a:endParaRPr lang="ru-RU" sz="14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  <a:p>
            <a:pPr marL="228600" indent="-228600" defTabSz="762000" eaLnBrk="0" fontAlgn="auto" hangingPunct="0">
              <a:spcBef>
                <a:spcPts val="0"/>
              </a:spcBef>
              <a:spcAft>
                <a:spcPts val="0"/>
              </a:spcAft>
              <a:buAutoNum type="arabicPeriod"/>
              <a:tabLst>
                <a:tab pos="384175" algn="l"/>
              </a:tabLst>
              <a:defRPr/>
            </a:pPr>
            <a:endParaRPr lang="ru-RU" sz="2000" b="1" dirty="0" smtClean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19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tBsf9khEyPr3pllCnV2Q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Firm Format - Russian">
  <a:themeElements>
    <a:clrScheme name="1_Firm Format - Russian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536"/>
      </a:folHlink>
    </a:clrScheme>
    <a:fontScheme name="1_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5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318</TotalTime>
  <Words>1040</Words>
  <Application>Microsoft Office PowerPoint</Application>
  <PresentationFormat>Экран (4:3)</PresentationFormat>
  <Paragraphs>134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9" baseType="lpstr">
      <vt:lpstr>sber_present_gedonizm1</vt:lpstr>
      <vt:lpstr>1_Firm Format - Russian</vt:lpstr>
      <vt:lpstr>think-cell Slide</vt:lpstr>
      <vt:lpstr>Презентация PowerPoint</vt:lpstr>
      <vt:lpstr>Предвестники банкротства </vt:lpstr>
      <vt:lpstr>Предвестники банкротства. Экономические признаки</vt:lpstr>
      <vt:lpstr>Предвестники банкротства. Юридические признаки</vt:lpstr>
      <vt:lpstr>Необходимые действия</vt:lpstr>
      <vt:lpstr>Предлагаемые изменения законодательств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ТОГИ РАБОТЫ  С ПРОБЛЕМНЫ АКТИВАМИ ЗА ПЕРИОД С 18 ПО 25 ФЕВРАЛЯ</dc:title>
  <dc:creator>Рачковский А.С.</dc:creator>
  <cp:lastModifiedBy>v.plotnikova</cp:lastModifiedBy>
  <cp:revision>3727</cp:revision>
  <cp:lastPrinted>2011-09-22T11:31:29Z</cp:lastPrinted>
  <dcterms:created xsi:type="dcterms:W3CDTF">2009-12-17T07:12:41Z</dcterms:created>
  <dcterms:modified xsi:type="dcterms:W3CDTF">2011-12-13T13:12:42Z</dcterms:modified>
</cp:coreProperties>
</file>